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7" r:id="rId5"/>
    <p:sldId id="261" r:id="rId6"/>
    <p:sldId id="263" r:id="rId7"/>
    <p:sldId id="265" r:id="rId8"/>
    <p:sldId id="260" r:id="rId9"/>
    <p:sldId id="266" r:id="rId10"/>
    <p:sldId id="259" r:id="rId11"/>
    <p:sldId id="264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FBDCE6-76DD-F9DD-A503-6B9908D861B2}" v="124" dt="2023-04-17T05:47:49.825"/>
    <p1510:client id="{2C387117-F974-4EB3-A7A1-38E43B5F7459}" v="128" dt="2023-04-17T22:43:20.8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46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000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522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F91FFD-73BA-4C6D-B9FD-A1C4B70F7A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084F6CD-F1E7-7748-873B-27B114A37E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941FEE-2897-4298-9FB5-8B898D7AB559}"/>
              </a:ext>
            </a:extLst>
          </p:cNvPr>
          <p:cNvSpPr txBox="1"/>
          <p:nvPr userDrawn="1"/>
        </p:nvSpPr>
        <p:spPr>
          <a:xfrm>
            <a:off x="8901952" y="6917"/>
            <a:ext cx="3603812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100">
                <a:solidFill>
                  <a:schemeClr val="bg2"/>
                </a:solidFill>
              </a:rPr>
              <a:t>DRAFT – Internal use only; for discussion purposes</a:t>
            </a:r>
          </a:p>
        </p:txBody>
      </p:sp>
    </p:spTree>
    <p:extLst>
      <p:ext uri="{BB962C8B-B14F-4D97-AF65-F5344CB8AC3E}">
        <p14:creationId xmlns:p14="http://schemas.microsoft.com/office/powerpoint/2010/main" val="252972312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106727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34019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164332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hree Column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3C609D03-B889-C842-8513-19D0A7B60B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2836" y="6366947"/>
            <a:ext cx="724288" cy="440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0846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C078DC82-6834-C746-8FAC-C8203FC485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2793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01874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28255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23298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68079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90128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174194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7839930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4CE3940-615A-5E4B-A54E-5BCA53F88F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2836" y="6366947"/>
            <a:ext cx="724288" cy="440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51720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68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37987-1AD3-4039-8514-9AA51B6AED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E4FE8-85DD-4774-B156-40911633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ED9EA-C0CB-423E-8DFD-5E715DE60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3AC2671-D423-9C48-A1B1-A46D455B62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2095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68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989A-470D-4F86-A2CA-04215DCCB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133C79-2FC5-49E8-8C90-CC225D4F9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F714B-66A6-4215-944E-86DD4151B4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F232D0F-1D01-CA40-84A0-07F9D2C3F0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63163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378816"/>
            <a:ext cx="9468000" cy="3214286"/>
          </a:xfrm>
        </p:spPr>
        <p:txBody>
          <a:bodyPr anchor="ctr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CB2F867-80D5-4072-B066-D1FABDA981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075C83-E75A-4761-ABDB-78F33525E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6F4E22-A15E-451C-BD46-064AFF4BC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C8E2E9A-E191-714A-BF22-869A43881E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2836" y="6366947"/>
            <a:ext cx="724288" cy="440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63730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F0B42C7-DCFF-4F4E-A97A-71EE05490C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25D11F-FD96-47DA-A915-74520DF8101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4C3B1-C6F3-47F5-BA77-FFE7372DA8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F6F2EC5-F6F5-0D49-B883-F6266AF036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63750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99D0098-87B4-4DED-9DA5-AD58D81E01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E5E86F-6198-45AB-BCDD-FC6699753BC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2BF005-0053-4482-9A86-685DBCA59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C746B78-599F-3848-A56C-7AB9CF8C6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6825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71E62B2-11ED-4F53-987A-D7C7F8C570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7744A4-A844-44EE-8999-4199B276ED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F4500E-998D-49D0-800E-1C1C50531D2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E8C8513-746F-2F44-984C-93FC45F60C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16325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3E7B15-B6FE-4A26-B618-7F1B832EE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732525-AB43-49B8-8347-B08BBD124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EFF27-0AA0-4416-981F-E6A4670CC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085AE05-50B0-4148-984B-8A08DAD852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1869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4590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A5D602-19E5-4AD7-A798-9ABA97C87B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A2A05-C8DE-4BB6-A2EE-0A5AA8C5D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23DA65-402A-4130-BFAD-85ADF5B74F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D6A90BB-C431-1140-ACED-380F25EA29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1162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855379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000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000" cy="2200275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3B4184-6328-4154-91D2-1AA8288B2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9D489B8-E048-0948-80FD-480D8509F0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46115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160651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429025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CF7A6AE-FA80-4C09-887C-D512261AAC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881622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0879023-BCBA-DB47-9AC8-ABFFDC35B2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18814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BF3C99C-B60C-D248-BB9B-286F0DD488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5475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C26A1B-1986-4C2F-A957-D9F58DC76B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377825"/>
            <a:ext cx="3914776" cy="3051176"/>
          </a:xfrm>
          <a:noFill/>
        </p:spPr>
        <p:txBody>
          <a:bodyPr lIns="0" tIns="0" rIns="0" bIns="0"/>
          <a:lstStyle>
            <a:lvl1pPr>
              <a:spcAft>
                <a:spcPts val="16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Aft>
                <a:spcPts val="2000"/>
              </a:spcAft>
              <a:defRPr sz="275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2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161742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4"/>
                </a:solidFill>
              </a:defRPr>
            </a:lvl1pPr>
            <a:lvl2pPr>
              <a:spcAft>
                <a:spcPts val="0"/>
              </a:spcAft>
              <a:defRPr sz="1200" b="1">
                <a:solidFill>
                  <a:schemeClr val="accent4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E0A01-DDD8-40C4-8091-30F2078FD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873D457-03D8-1945-9B8D-FB7B8892F1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27730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24ED25-48F6-4AA3-8101-076C3DE23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854E24A-FF1D-A548-B94F-9571F7F32E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46474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A8FB-C22C-4816-B876-7FE31AE5B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30A0542-11DF-C249-B426-F208E212F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99" y="168883"/>
            <a:ext cx="1518348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246865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9BD5DBD-2FA9-4215-9F27-75581AAE1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27EA485-49F4-F04F-8631-3B6D68F69B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8784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6DB4970-1539-45AF-95B7-E0F4F6E0F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B163B56-79A7-9940-8098-CE8D0776B7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34581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14920EE-2A7C-44F3-99E1-0A99C5AA9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F1FF7A7-AF6A-E945-8EDD-4902060E2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41445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947366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43034BF-24DC-2B4B-A0E3-07397ADFA9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93897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148351-C3CB-4B61-A9FC-2A23C40924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85889" y="5960708"/>
            <a:ext cx="1838379" cy="945746"/>
          </a:xfrm>
          <a:prstGeom prst="rect">
            <a:avLst/>
          </a:prstGeom>
        </p:spPr>
      </p:pic>
      <p:pic>
        <p:nvPicPr>
          <p:cNvPr id="17" name="bjClassifierImageBottom">
            <a:extLst>
              <a:ext uri="{FF2B5EF4-FFF2-40B4-BE49-F238E27FC236}">
                <a16:creationId xmlns:a16="http://schemas.microsoft.com/office/drawing/2014/main" id="{1DBAB6DB-1715-46E7-A880-86A10AF3F8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749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868099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09E9714-8531-49CA-817A-A6591E6ACE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2EB7C56-F6EC-594D-9868-46D933E673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105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FCC1E2B-BD2B-41AE-8380-2C71697586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0AE3F28-3BC0-D04D-B003-20D485EF7E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56816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5" y="3682800"/>
            <a:ext cx="4932729" cy="2200275"/>
          </a:xfr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570B4B7-B99F-4E9F-8038-FEAA60799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7245839-B126-3445-A23C-21692B279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545" y="159317"/>
            <a:ext cx="1518346" cy="92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1312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5023541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704587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8AADA0E-8D25-4DA0-BBB5-B9EF170E6C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998009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532" imgH="533" progId="TCLayout.ActiveDocument.1">
                  <p:embed/>
                </p:oleObj>
              </mc:Choice>
              <mc:Fallback>
                <p:oleObj name="think-cell Slide" r:id="rId46" imgW="532" imgH="53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8AADA0E-8D25-4DA0-BBB5-B9EF170E6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AD07C71F-0F88-3445-8DA0-9F1C25B65837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0711576" y="6366075"/>
            <a:ext cx="727747" cy="44235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960C8C5-119E-4AEE-BA77-0FB5C79323A9}"/>
              </a:ext>
            </a:extLst>
          </p:cNvPr>
          <p:cNvSpPr txBox="1"/>
          <p:nvPr userDrawn="1"/>
        </p:nvSpPr>
        <p:spPr>
          <a:xfrm>
            <a:off x="8901952" y="6917"/>
            <a:ext cx="3603812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100">
                <a:solidFill>
                  <a:schemeClr val="bg2"/>
                </a:solidFill>
              </a:rPr>
              <a:t>DRAFT – Internal use only; for discussion purposes</a:t>
            </a:r>
          </a:p>
        </p:txBody>
      </p:sp>
      <p:sp>
        <p:nvSpPr>
          <p:cNvPr id="7" name="MSIPCMContentMarking" descr="{&quot;HashCode&quot;:23977516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199BC474-1A6F-270E-E136-C4FB5D7A9021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043917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75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2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accent4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000" kern="1200">
          <a:solidFill>
            <a:schemeClr val="accent1"/>
          </a:solidFill>
          <a:latin typeface="+mj-lt"/>
          <a:ea typeface="+mn-ea"/>
          <a:cs typeface="+mn-cs"/>
        </a:defRPr>
      </a:lvl4pPr>
      <a:lvl5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16000" indent="-1080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6pPr>
      <a:lvl7pPr marL="324000" indent="-1080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8">
          <p15:clr>
            <a:srgbClr val="F26B43"/>
          </p15:clr>
        </p15:guide>
        <p15:guide id="4" pos="2511">
          <p15:clr>
            <a:srgbClr val="F26B43"/>
          </p15:clr>
        </p15:guide>
        <p15:guide id="5" pos="2704">
          <p15:clr>
            <a:srgbClr val="F26B43"/>
          </p15:clr>
        </p15:guide>
        <p15:guide id="6" pos="4977">
          <p15:clr>
            <a:srgbClr val="F26B43"/>
          </p15:clr>
        </p15:guide>
        <p15:guide id="7" pos="5169">
          <p15:clr>
            <a:srgbClr val="F26B43"/>
          </p15:clr>
        </p15:guide>
        <p15:guide id="8" pos="7442">
          <p15:clr>
            <a:srgbClr val="F26B43"/>
          </p15:clr>
        </p15:guide>
        <p15:guide id="9" orient="horz" pos="23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orient="horz" pos="1751">
          <p15:clr>
            <a:srgbClr val="F26B43"/>
          </p15:clr>
        </p15:guide>
        <p15:guide id="12" orient="horz" pos="1213">
          <p15:clr>
            <a:srgbClr val="F26B43"/>
          </p15:clr>
        </p15:guide>
        <p15:guide id="13" orient="horz" pos="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d5.myworkday.com/msd/d/inst/15$158872/9925$288181.htmld" TargetMode="External"/><Relationship Id="rId2" Type="http://schemas.openxmlformats.org/officeDocument/2006/relationships/hyperlink" Target="https://wd5.myworkday.com/msd/d/inst/15$158872/9925$284835.htmld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linkedin.com/in/subekshya-bidari" TargetMode="External"/><Relationship Id="rId13" Type="http://schemas.openxmlformats.org/officeDocument/2006/relationships/hyperlink" Target="https://www.linkedin.com/in/jerry-shaji-punnoose/" TargetMode="External"/><Relationship Id="rId3" Type="http://schemas.openxmlformats.org/officeDocument/2006/relationships/hyperlink" Target="http://www.linkedin.com/in/anushri-more-570779ab/" TargetMode="External"/><Relationship Id="rId7" Type="http://schemas.openxmlformats.org/officeDocument/2006/relationships/hyperlink" Target="http://www.linkedin.com/in/desthymatouba/" TargetMode="External"/><Relationship Id="rId12" Type="http://schemas.openxmlformats.org/officeDocument/2006/relationships/hyperlink" Target="http://www.linkedin.com/in/moumita-h-7009737/" TargetMode="External"/><Relationship Id="rId2" Type="http://schemas.openxmlformats.org/officeDocument/2006/relationships/hyperlink" Target="https://www.linkedin.com/in/pohung-chen-billy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linkedin.com/in/chang-su-data-science/" TargetMode="External"/><Relationship Id="rId11" Type="http://schemas.openxmlformats.org/officeDocument/2006/relationships/hyperlink" Target="https://www.linkedin.com/in/jia-liu-780267b1/" TargetMode="External"/><Relationship Id="rId5" Type="http://schemas.openxmlformats.org/officeDocument/2006/relationships/hyperlink" Target="http://www.linkedin.com/in/jackcdelaney" TargetMode="External"/><Relationship Id="rId10" Type="http://schemas.openxmlformats.org/officeDocument/2006/relationships/hyperlink" Target="http://www.linkedin.com/in/hankzhu/" TargetMode="External"/><Relationship Id="rId4" Type="http://schemas.openxmlformats.org/officeDocument/2006/relationships/hyperlink" Target="http://www.linkedin.com/in/kanikamisra" TargetMode="External"/><Relationship Id="rId9" Type="http://schemas.openxmlformats.org/officeDocument/2006/relationships/hyperlink" Target="https://www.linkedin.com/in/kieren-connor-36a65797/" TargetMode="External"/><Relationship Id="rId14" Type="http://schemas.openxmlformats.org/officeDocument/2006/relationships/hyperlink" Target="https://www.linkedin.com/in/sanket-gupta-88421369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in/skhara/" TargetMode="External"/><Relationship Id="rId3" Type="http://schemas.openxmlformats.org/officeDocument/2006/relationships/hyperlink" Target="https://www.linkedin.com/in/elizabeth-kurien-70b6996/" TargetMode="External"/><Relationship Id="rId7" Type="http://schemas.openxmlformats.org/officeDocument/2006/relationships/hyperlink" Target="https://www.linkedin.com/in/kieren-connor-36a65797/" TargetMode="External"/><Relationship Id="rId2" Type="http://schemas.openxmlformats.org/officeDocument/2006/relationships/hyperlink" Target="https://www.linkedin.com/in/shambhaviupadhyaya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linkedin.com/in/anushri-more-570779ab/" TargetMode="External"/><Relationship Id="rId5" Type="http://schemas.openxmlformats.org/officeDocument/2006/relationships/hyperlink" Target="https://www.linkedin.com/in/pohung-chen-billy/" TargetMode="External"/><Relationship Id="rId4" Type="http://schemas.openxmlformats.org/officeDocument/2006/relationships/hyperlink" Target="https://www.linkedin.com/in/vapriyam" TargetMode="External"/><Relationship Id="rId9" Type="http://schemas.openxmlformats.org/officeDocument/2006/relationships/hyperlink" Target="https://www.linkedin.com/in/rutvi-bhatt-20827b98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2F9A9-1A0D-40F0-B65C-1BD8261ECEC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Recruitment Track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918383-D3BC-4058-8B16-F1D6B571AE1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0C480A-A0EA-42EB-8E18-9595ADE9A2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64631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96D5A-2EE8-63ED-6069-712A33ACF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Job Listing Track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48C81D-346F-A7F8-ACFF-192C24E83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63163C8-8576-9A8C-48A4-AAA08A70ED78}"/>
              </a:ext>
            </a:extLst>
          </p:cNvPr>
          <p:cNvGraphicFramePr>
            <a:graphicFrameLocks noGrp="1"/>
          </p:cNvGraphicFramePr>
          <p:nvPr/>
        </p:nvGraphicFramePr>
        <p:xfrm>
          <a:off x="377825" y="1967341"/>
          <a:ext cx="11436350" cy="12469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78255">
                  <a:extLst>
                    <a:ext uri="{9D8B030D-6E8A-4147-A177-3AD203B41FA5}">
                      <a16:colId xmlns:a16="http://schemas.microsoft.com/office/drawing/2014/main" val="1947202635"/>
                    </a:ext>
                  </a:extLst>
                </a:gridCol>
                <a:gridCol w="792482">
                  <a:extLst>
                    <a:ext uri="{9D8B030D-6E8A-4147-A177-3AD203B41FA5}">
                      <a16:colId xmlns:a16="http://schemas.microsoft.com/office/drawing/2014/main" val="860734697"/>
                    </a:ext>
                  </a:extLst>
                </a:gridCol>
                <a:gridCol w="1290420">
                  <a:extLst>
                    <a:ext uri="{9D8B030D-6E8A-4147-A177-3AD203B41FA5}">
                      <a16:colId xmlns:a16="http://schemas.microsoft.com/office/drawing/2014/main" val="789123227"/>
                    </a:ext>
                  </a:extLst>
                </a:gridCol>
                <a:gridCol w="960582">
                  <a:extLst>
                    <a:ext uri="{9D8B030D-6E8A-4147-A177-3AD203B41FA5}">
                      <a16:colId xmlns:a16="http://schemas.microsoft.com/office/drawing/2014/main" val="408412731"/>
                    </a:ext>
                  </a:extLst>
                </a:gridCol>
                <a:gridCol w="4914611">
                  <a:extLst>
                    <a:ext uri="{9D8B030D-6E8A-4147-A177-3AD203B41FA5}">
                      <a16:colId xmlns:a16="http://schemas.microsoft.com/office/drawing/2014/main" val="827152602"/>
                    </a:ext>
                  </a:extLst>
                </a:gridCol>
              </a:tblGrid>
              <a:tr h="311729">
                <a:tc>
                  <a:txBody>
                    <a:bodyPr/>
                    <a:lstStyle/>
                    <a:p>
                      <a:r>
                        <a:rPr lang="en-AU" sz="1000">
                          <a:effectLst/>
                        </a:rPr>
                        <a:t>Position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r>
                        <a:rPr lang="en-AU" sz="1000">
                          <a:effectLst/>
                        </a:rPr>
                        <a:t>Quantity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Level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Req ID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r>
                        <a:rPr lang="en-AU" sz="1000">
                          <a:effectLst/>
                        </a:rPr>
                        <a:t>Internal Link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extLst>
                  <a:ext uri="{0D108BD9-81ED-4DB2-BD59-A6C34878D82A}">
                    <a16:rowId xmlns:a16="http://schemas.microsoft.com/office/drawing/2014/main" val="343644293"/>
                  </a:ext>
                </a:extLst>
              </a:tr>
              <a:tr h="311729">
                <a:tc>
                  <a:txBody>
                    <a:bodyPr/>
                    <a:lstStyle/>
                    <a:p>
                      <a:r>
                        <a:rPr lang="en-AU" sz="1000">
                          <a:effectLst/>
                        </a:rPr>
                        <a:t>Data Science operations manager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1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Sr Specialist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R231637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r>
                        <a:rPr lang="en-AU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-&gt; Move </a:t>
                      </a:r>
                      <a:r>
                        <a:rPr lang="en-AU" sz="100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utvi’s</a:t>
                      </a:r>
                      <a:r>
                        <a:rPr lang="en-AU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application to this role </a:t>
                      </a:r>
                    </a:p>
                  </a:txBody>
                  <a:tcPr marL="62697" marR="62697" marT="0" marB="0" anchor="ctr"/>
                </a:tc>
                <a:extLst>
                  <a:ext uri="{0D108BD9-81ED-4DB2-BD59-A6C34878D82A}">
                    <a16:rowId xmlns:a16="http://schemas.microsoft.com/office/drawing/2014/main" val="379245556"/>
                  </a:ext>
                </a:extLst>
              </a:tr>
              <a:tr h="311729">
                <a:tc>
                  <a:txBody>
                    <a:bodyPr/>
                    <a:lstStyle/>
                    <a:p>
                      <a:r>
                        <a:rPr lang="en-AU" sz="1000">
                          <a:effectLst/>
                        </a:rPr>
                        <a:t>Sr Data Scientist 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2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Sr Specialist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R231632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r>
                        <a:rPr lang="en-AU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hlinkClick r:id="rId2"/>
                        </a:rPr>
                        <a:t>https://wd5.myworkday.com/msd/d/inst/15$158872/9925$284835.htmld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extLst>
                  <a:ext uri="{0D108BD9-81ED-4DB2-BD59-A6C34878D82A}">
                    <a16:rowId xmlns:a16="http://schemas.microsoft.com/office/drawing/2014/main" val="585557194"/>
                  </a:ext>
                </a:extLst>
              </a:tr>
              <a:tr h="311729">
                <a:tc>
                  <a:txBody>
                    <a:bodyPr/>
                    <a:lstStyle/>
                    <a:p>
                      <a:r>
                        <a:rPr lang="en-AU" sz="1000">
                          <a:effectLst/>
                        </a:rPr>
                        <a:t>Associate Director, Data Science 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1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Associate Director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effectLst/>
                        </a:rPr>
                        <a:t>R231639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tc>
                  <a:txBody>
                    <a:bodyPr/>
                    <a:lstStyle/>
                    <a:p>
                      <a:r>
                        <a:rPr lang="en-AU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hlinkClick r:id="rId3"/>
                        </a:rPr>
                        <a:t>https://wd5.myworkday.com/msd/d/inst/15$158872/9925$288181.htmld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2697" marR="62697" marT="0" marB="0" anchor="ctr"/>
                </a:tc>
                <a:extLst>
                  <a:ext uri="{0D108BD9-81ED-4DB2-BD59-A6C34878D82A}">
                    <a16:rowId xmlns:a16="http://schemas.microsoft.com/office/drawing/2014/main" val="3816409395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9FD2DB15-3B02-7247-0BD4-3A4CE47C8F3B}"/>
              </a:ext>
            </a:extLst>
          </p:cNvPr>
          <p:cNvSpPr txBox="1"/>
          <p:nvPr/>
        </p:nvSpPr>
        <p:spPr>
          <a:xfrm>
            <a:off x="377825" y="3953666"/>
            <a:ext cx="11436350" cy="243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DS Ops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Mg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 -&gt; Sr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pcls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 -&gt; Internal (Lead) -&gt; Andrea Qiu (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PromoFI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) -&gt; Other candidate was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Rutvi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 and if not for this position recru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Rutvi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 for Tim’s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r Data Scientist -&gt; 2 -&gt;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Deep hands on experience in this space (MMX, ROI, Promotional response analysis, attribution analysis, Marketing Mix, Advertisement impact assessment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Potential to be growth candidate to take on the business lead position,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Good communication, story telling and articul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Associate Director -&gt; 1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t>Similar to Sr DS but more experience</a:t>
            </a:r>
          </a:p>
        </p:txBody>
      </p:sp>
    </p:spTree>
    <p:extLst>
      <p:ext uri="{BB962C8B-B14F-4D97-AF65-F5344CB8AC3E}">
        <p14:creationId xmlns:p14="http://schemas.microsoft.com/office/powerpoint/2010/main" val="346566308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24D7-FCCC-C6BF-7954-7EA60D2D9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ndidate Recruitment Track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44CB01-2A1A-9FF8-687E-28EE049B6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1B13E7EF-DD51-2556-73EA-18C0D58FA6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828453"/>
              </p:ext>
            </p:extLst>
          </p:nvPr>
        </p:nvGraphicFramePr>
        <p:xfrm>
          <a:off x="377825" y="1369372"/>
          <a:ext cx="11436348" cy="5336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2828">
                  <a:extLst>
                    <a:ext uri="{9D8B030D-6E8A-4147-A177-3AD203B41FA5}">
                      <a16:colId xmlns:a16="http://schemas.microsoft.com/office/drawing/2014/main" val="1068831630"/>
                    </a:ext>
                  </a:extLst>
                </a:gridCol>
                <a:gridCol w="1620252">
                  <a:extLst>
                    <a:ext uri="{9D8B030D-6E8A-4147-A177-3AD203B41FA5}">
                      <a16:colId xmlns:a16="http://schemas.microsoft.com/office/drawing/2014/main" val="3218826134"/>
                    </a:ext>
                  </a:extLst>
                </a:gridCol>
                <a:gridCol w="2648212">
                  <a:extLst>
                    <a:ext uri="{9D8B030D-6E8A-4147-A177-3AD203B41FA5}">
                      <a16:colId xmlns:a16="http://schemas.microsoft.com/office/drawing/2014/main" val="4253794907"/>
                    </a:ext>
                  </a:extLst>
                </a:gridCol>
                <a:gridCol w="1633764">
                  <a:extLst>
                    <a:ext uri="{9D8B030D-6E8A-4147-A177-3AD203B41FA5}">
                      <a16:colId xmlns:a16="http://schemas.microsoft.com/office/drawing/2014/main" val="3365132014"/>
                    </a:ext>
                  </a:extLst>
                </a:gridCol>
                <a:gridCol w="1633764">
                  <a:extLst>
                    <a:ext uri="{9D8B030D-6E8A-4147-A177-3AD203B41FA5}">
                      <a16:colId xmlns:a16="http://schemas.microsoft.com/office/drawing/2014/main" val="3230832440"/>
                    </a:ext>
                  </a:extLst>
                </a:gridCol>
                <a:gridCol w="1633764">
                  <a:extLst>
                    <a:ext uri="{9D8B030D-6E8A-4147-A177-3AD203B41FA5}">
                      <a16:colId xmlns:a16="http://schemas.microsoft.com/office/drawing/2014/main" val="602907517"/>
                    </a:ext>
                  </a:extLst>
                </a:gridCol>
                <a:gridCol w="1633764">
                  <a:extLst>
                    <a:ext uri="{9D8B030D-6E8A-4147-A177-3AD203B41FA5}">
                      <a16:colId xmlns:a16="http://schemas.microsoft.com/office/drawing/2014/main" val="3053861172"/>
                    </a:ext>
                  </a:extLst>
                </a:gridCol>
              </a:tblGrid>
              <a:tr h="324598">
                <a:tc>
                  <a:txBody>
                    <a:bodyPr/>
                    <a:lstStyle/>
                    <a:p>
                      <a:r>
                        <a:rPr lang="en-US" sz="1200"/>
                        <a:t>Sr 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didate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V Assess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enthil/Aj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Panel Intervi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Deci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3210793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err="1"/>
                        <a:t>Pohung</a:t>
                      </a:r>
                      <a:r>
                        <a:rPr lang="en-US" sz="1200"/>
                        <a:t> Chen Bil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8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 tooltip="https://www.linkedin.com/in/pohung-chen-billy/"/>
                        </a:rPr>
                        <a:t>www.linkedin.com/in/pohung-chen-billy/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/>
                        <a:t>Priority (Measurem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1982974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err="1"/>
                        <a:t>Anushri</a:t>
                      </a:r>
                      <a:r>
                        <a:rPr lang="en-US" sz="1200"/>
                        <a:t> M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3"/>
                        </a:rPr>
                        <a:t>www.linkedin.com/in/anushri-more-570779ab/</a:t>
                      </a:r>
                      <a:endParaRPr lang="en-US" sz="800" b="0" i="0" u="none" strike="noStrike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Referral (CL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264407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Kanika </a:t>
                      </a:r>
                      <a:r>
                        <a:rPr lang="en-US" sz="1200" err="1"/>
                        <a:t>Misra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4"/>
                        </a:rPr>
                        <a:t>www.linkedin.com/in/kanikamisra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Measur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6307488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Jack Delane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5"/>
                        </a:rPr>
                        <a:t>www.linkedin.com/in/jackcdelaney</a:t>
                      </a:r>
                      <a:endParaRPr lang="en-US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Omnichannel, 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0516925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Chang </a:t>
                      </a:r>
                      <a:r>
                        <a:rPr lang="en-US" sz="1200" err="1"/>
                        <a:t>Su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700">
                          <a:hlinkClick r:id="rId6"/>
                        </a:rPr>
                        <a:t>www.linkedin.com/in/chang-su-data-science/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DoE, Funnel, 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9699199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err="1"/>
                        <a:t>Desthy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Matouba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hlinkClick r:id="rId7"/>
                        </a:rPr>
                        <a:t>www.linkedin.com/in/desthymatouba/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Business Analy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8248927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err="1"/>
                        <a:t>Feiyan</a:t>
                      </a:r>
                      <a:r>
                        <a:rPr lang="en-US" sz="1200"/>
                        <a:t> Ch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err="1"/>
                        <a:t>Cx</a:t>
                      </a:r>
                      <a:r>
                        <a:rPr lang="en-US" sz="1000"/>
                        <a:t>/Media measu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2992638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Subekshya Bidari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hlinkClick r:id="rId8"/>
                        </a:rPr>
                        <a:t>www.linkedin.com/in/subekshya-bidari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Refer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724529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err="1"/>
                        <a:t>Kieren</a:t>
                      </a:r>
                      <a:r>
                        <a:rPr lang="en-US" sz="1200"/>
                        <a:t> Conn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sng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www.linkedin.com/in/kieren-connor-36a65797/</a:t>
                      </a:r>
                      <a:endParaRPr lang="en-AU" sz="7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MMX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9275786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Hang(Hank) Zh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10"/>
                        </a:rPr>
                        <a:t>www.linkedin.com/in/hankzhu/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JL – Ads measur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3961787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Jia Li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hlinkClick r:id="rId11"/>
                        </a:rPr>
                        <a:t>www.linkedin.com/in/jia-liu-780267b1/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/>
                        <a:t>JL - Priority (MMX)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7705993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Alec J. </a:t>
                      </a:r>
                      <a:r>
                        <a:rPr lang="en-US" sz="1200" err="1"/>
                        <a:t>Soudry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JL - Priority (MMX, </a:t>
                      </a:r>
                      <a:r>
                        <a:rPr lang="en-US" sz="1000" b="1" err="1"/>
                        <a:t>Cx</a:t>
                      </a:r>
                      <a:r>
                        <a:rPr lang="en-US" sz="1000" b="1"/>
                        <a:t>)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6897659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err="1"/>
                        <a:t>Moumita</a:t>
                      </a:r>
                      <a:r>
                        <a:rPr lang="en-US" sz="1200"/>
                        <a:t> </a:t>
                      </a:r>
                      <a:r>
                        <a:rPr lang="en-US" sz="1200" err="1"/>
                        <a:t>Hanra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hlinkClick r:id="rId12"/>
                        </a:rPr>
                        <a:t>www.linkedin.com/in/moumita-h-7009737/</a:t>
                      </a:r>
                      <a:endParaRPr lang="en-US" sz="800"/>
                    </a:p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JL - Priority (MMX, </a:t>
                      </a:r>
                      <a:r>
                        <a:rPr lang="en-US" sz="1000" b="1" err="1"/>
                        <a:t>Cx</a:t>
                      </a:r>
                      <a:r>
                        <a:rPr lang="en-US" sz="1000" b="1"/>
                        <a:t>)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9870984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JERRY PUNNO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hlinkClick r:id="rId13"/>
                        </a:rPr>
                        <a:t>https://www.linkedin.com/in/jerry-shaji-punnoose/</a:t>
                      </a:r>
                      <a:endParaRPr lang="en-US" sz="800"/>
                    </a:p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JL - Priority (MMX)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9722487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SANKET GUP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700">
                          <a:hlinkClick r:id="rId14"/>
                        </a:rPr>
                        <a:t>https://www.linkedin.com/in/sanket-gupta-88421369/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JL - Priority (MMX)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17760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590453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24D7-FCCC-C6BF-7954-7EA60D2D9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ndidate Recruitment Track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44CB01-2A1A-9FF8-687E-28EE049B6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1B13E7EF-DD51-2556-73EA-18C0D58FA6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7279273"/>
              </p:ext>
            </p:extLst>
          </p:nvPr>
        </p:nvGraphicFramePr>
        <p:xfrm>
          <a:off x="377825" y="1369372"/>
          <a:ext cx="11436348" cy="5193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2828">
                  <a:extLst>
                    <a:ext uri="{9D8B030D-6E8A-4147-A177-3AD203B41FA5}">
                      <a16:colId xmlns:a16="http://schemas.microsoft.com/office/drawing/2014/main" val="1068831630"/>
                    </a:ext>
                  </a:extLst>
                </a:gridCol>
                <a:gridCol w="1620252">
                  <a:extLst>
                    <a:ext uri="{9D8B030D-6E8A-4147-A177-3AD203B41FA5}">
                      <a16:colId xmlns:a16="http://schemas.microsoft.com/office/drawing/2014/main" val="3218826134"/>
                    </a:ext>
                  </a:extLst>
                </a:gridCol>
                <a:gridCol w="2648212">
                  <a:extLst>
                    <a:ext uri="{9D8B030D-6E8A-4147-A177-3AD203B41FA5}">
                      <a16:colId xmlns:a16="http://schemas.microsoft.com/office/drawing/2014/main" val="4253794907"/>
                    </a:ext>
                  </a:extLst>
                </a:gridCol>
                <a:gridCol w="1633764">
                  <a:extLst>
                    <a:ext uri="{9D8B030D-6E8A-4147-A177-3AD203B41FA5}">
                      <a16:colId xmlns:a16="http://schemas.microsoft.com/office/drawing/2014/main" val="3365132014"/>
                    </a:ext>
                  </a:extLst>
                </a:gridCol>
                <a:gridCol w="1633764">
                  <a:extLst>
                    <a:ext uri="{9D8B030D-6E8A-4147-A177-3AD203B41FA5}">
                      <a16:colId xmlns:a16="http://schemas.microsoft.com/office/drawing/2014/main" val="3230832440"/>
                    </a:ext>
                  </a:extLst>
                </a:gridCol>
                <a:gridCol w="1633764">
                  <a:extLst>
                    <a:ext uri="{9D8B030D-6E8A-4147-A177-3AD203B41FA5}">
                      <a16:colId xmlns:a16="http://schemas.microsoft.com/office/drawing/2014/main" val="602907517"/>
                    </a:ext>
                  </a:extLst>
                </a:gridCol>
                <a:gridCol w="1633764">
                  <a:extLst>
                    <a:ext uri="{9D8B030D-6E8A-4147-A177-3AD203B41FA5}">
                      <a16:colId xmlns:a16="http://schemas.microsoft.com/office/drawing/2014/main" val="3053861172"/>
                    </a:ext>
                  </a:extLst>
                </a:gridCol>
              </a:tblGrid>
              <a:tr h="324598">
                <a:tc>
                  <a:txBody>
                    <a:bodyPr/>
                    <a:lstStyle/>
                    <a:p>
                      <a:r>
                        <a:rPr lang="en-US" sz="1200"/>
                        <a:t>Sr 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andidate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V Assess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Senthil/Aj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Panel Intervi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Deci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3210793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Rishabh Khura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/>
                        <a:t>JL - Priority (MMX)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1982974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264407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6307488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0516925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9699199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8248927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2992638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724529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7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9275786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3961787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7705993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6897659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9870984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9722487"/>
                  </a:ext>
                </a:extLst>
              </a:tr>
              <a:tr h="324598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17760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171524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D22F32-3A72-4E4F-1B59-E6649B085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ig Opportun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F7938F-4B8D-48EC-7559-B3031BDFE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7A89955-9523-DFBA-1D20-3EB47189B8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7826245"/>
              </p:ext>
            </p:extLst>
          </p:nvPr>
        </p:nvGraphicFramePr>
        <p:xfrm>
          <a:off x="420401" y="1401570"/>
          <a:ext cx="11300543" cy="495853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17932">
                  <a:extLst>
                    <a:ext uri="{9D8B030D-6E8A-4147-A177-3AD203B41FA5}">
                      <a16:colId xmlns:a16="http://schemas.microsoft.com/office/drawing/2014/main" val="3094901952"/>
                    </a:ext>
                  </a:extLst>
                </a:gridCol>
                <a:gridCol w="8482611">
                  <a:extLst>
                    <a:ext uri="{9D8B030D-6E8A-4147-A177-3AD203B41FA5}">
                      <a16:colId xmlns:a16="http://schemas.microsoft.com/office/drawing/2014/main" val="4086979988"/>
                    </a:ext>
                  </a:extLst>
                </a:gridCol>
              </a:tblGrid>
              <a:tr h="204752"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Team Member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Roles/Responsibilities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2271311825"/>
                  </a:ext>
                </a:extLst>
              </a:tr>
              <a:tr h="1261037"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Econometrics/Statistician Expert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1) Research literature and analyse current state of ROI modelling.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2) Provide actionable suggestions with the data we have at hand and the types of assumptions that are allowed.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3) Collaboration with Causal ML Engineer to drive direction.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4) Create a measurements framework based on KPIs and the conclusions/insights which can be consistently drawn.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5) Find patterns in data which will aid in creating the data product.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393364927"/>
                  </a:ext>
                </a:extLst>
              </a:tr>
              <a:tr h="906496"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Digital Marketing Expert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1) Finalise KPIs from each digital channel (website, organic, Instagram/Facebook, Google Display Ads, YouTube Ads etc.)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2) Collaborate with Data Acquisition to acquire those KPIs.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3) Work with each vendor (Google Analytics 360 to Facebook) to see how can globally and more efficiently get external data with minimal effort from each market.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9223346"/>
                  </a:ext>
                </a:extLst>
              </a:tr>
              <a:tr h="729226"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Causal Machine Learning Engineer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1) Researching literature to understand best models that fit our data, the insights we seek and confidence level.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2) Developing a statistical model which focuses on establishing causation and moves away from correlation.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2125103818"/>
                  </a:ext>
                </a:extLst>
              </a:tr>
              <a:tr h="1127796"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Business Analyst (User Stories)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1) Comprehensively understand business need. 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2) Assess impact of investments. 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3) Types of questions and insights that business will ask from PromoFIT.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4) Promote and discover best practice models to suggest to each market.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5) Assist in change management, finding early "champions" of the system - those we interviewed for user stories. What are the "selling points" which end-users most engage with.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65839836"/>
                  </a:ext>
                </a:extLst>
              </a:tr>
              <a:tr h="729226"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Data Acquisition Senior Specialist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1) Discover and acquire the data from the KPIs that are determined by Digital Marketing Expert + Econometrics SME.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2) </a:t>
                      </a:r>
                      <a:r>
                        <a:rPr lang="en-AU" sz="1100" err="1">
                          <a:effectLst/>
                        </a:rPr>
                        <a:t>Preprocessing</a:t>
                      </a:r>
                      <a:r>
                        <a:rPr lang="en-AU" sz="1100">
                          <a:effectLst/>
                        </a:rPr>
                        <a:t> and cleansing of data.</a:t>
                      </a:r>
                      <a:br>
                        <a:rPr lang="en-AU" sz="1100">
                          <a:effectLst/>
                        </a:rPr>
                      </a:br>
                      <a:r>
                        <a:rPr lang="en-AU" sz="1100">
                          <a:effectLst/>
                        </a:rPr>
                        <a:t>3) Finding ways to automate the acquisition to work towards global scalability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35810757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843694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D22F32-3A72-4E4F-1B59-E6649B085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ig Opportun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F7938F-4B8D-48EC-7559-B3031BDFE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7A89955-9523-DFBA-1D20-3EB47189B8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684098"/>
              </p:ext>
            </p:extLst>
          </p:nvPr>
        </p:nvGraphicFramePr>
        <p:xfrm>
          <a:off x="420401" y="1401570"/>
          <a:ext cx="11300543" cy="495853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17932">
                  <a:extLst>
                    <a:ext uri="{9D8B030D-6E8A-4147-A177-3AD203B41FA5}">
                      <a16:colId xmlns:a16="http://schemas.microsoft.com/office/drawing/2014/main" val="3094901952"/>
                    </a:ext>
                  </a:extLst>
                </a:gridCol>
                <a:gridCol w="8482611">
                  <a:extLst>
                    <a:ext uri="{9D8B030D-6E8A-4147-A177-3AD203B41FA5}">
                      <a16:colId xmlns:a16="http://schemas.microsoft.com/office/drawing/2014/main" val="4086979988"/>
                    </a:ext>
                  </a:extLst>
                </a:gridCol>
              </a:tblGrid>
              <a:tr h="204752"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Team Member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r>
                        <a:rPr lang="en-AU" sz="1100">
                          <a:effectLst/>
                        </a:rPr>
                        <a:t>Roles/Responsibilities</a:t>
                      </a:r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2271311825"/>
                  </a:ext>
                </a:extLst>
              </a:tr>
              <a:tr h="1261037">
                <a:tc>
                  <a:txBody>
                    <a:bodyPr/>
                    <a:lstStyle/>
                    <a:p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393364927"/>
                  </a:ext>
                </a:extLst>
              </a:tr>
              <a:tr h="906496">
                <a:tc>
                  <a:txBody>
                    <a:bodyPr/>
                    <a:lstStyle/>
                    <a:p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9223346"/>
                  </a:ext>
                </a:extLst>
              </a:tr>
              <a:tr h="729226">
                <a:tc>
                  <a:txBody>
                    <a:bodyPr/>
                    <a:lstStyle/>
                    <a:p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2125103818"/>
                  </a:ext>
                </a:extLst>
              </a:tr>
              <a:tr h="1127796">
                <a:tc>
                  <a:txBody>
                    <a:bodyPr/>
                    <a:lstStyle/>
                    <a:p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65839836"/>
                  </a:ext>
                </a:extLst>
              </a:tr>
              <a:tr h="729226">
                <a:tc>
                  <a:txBody>
                    <a:bodyPr/>
                    <a:lstStyle/>
                    <a:p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tc>
                  <a:txBody>
                    <a:bodyPr/>
                    <a:lstStyle/>
                    <a:p>
                      <a:endParaRPr lang="en-A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9146" marR="9146" marT="9146" marB="9146" anchor="ctr"/>
                </a:tc>
                <a:extLst>
                  <a:ext uri="{0D108BD9-81ED-4DB2-BD59-A6C34878D82A}">
                    <a16:rowId xmlns:a16="http://schemas.microsoft.com/office/drawing/2014/main" val="35810757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785598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DF2FA-96EE-2629-AE70-0FAFDD056C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cruitment Tracker – Gig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D42B61-40C8-7AB1-0571-4F3B3B563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79E71CB-04BD-EC3A-9AA3-1276F6A7C3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6492459"/>
              </p:ext>
            </p:extLst>
          </p:nvPr>
        </p:nvGraphicFramePr>
        <p:xfrm>
          <a:off x="377825" y="1698720"/>
          <a:ext cx="11370832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2708">
                  <a:extLst>
                    <a:ext uri="{9D8B030D-6E8A-4147-A177-3AD203B41FA5}">
                      <a16:colId xmlns:a16="http://schemas.microsoft.com/office/drawing/2014/main" val="1213114596"/>
                    </a:ext>
                  </a:extLst>
                </a:gridCol>
                <a:gridCol w="2842708">
                  <a:extLst>
                    <a:ext uri="{9D8B030D-6E8A-4147-A177-3AD203B41FA5}">
                      <a16:colId xmlns:a16="http://schemas.microsoft.com/office/drawing/2014/main" val="1828400492"/>
                    </a:ext>
                  </a:extLst>
                </a:gridCol>
                <a:gridCol w="2842708">
                  <a:extLst>
                    <a:ext uri="{9D8B030D-6E8A-4147-A177-3AD203B41FA5}">
                      <a16:colId xmlns:a16="http://schemas.microsoft.com/office/drawing/2014/main" val="274758237"/>
                    </a:ext>
                  </a:extLst>
                </a:gridCol>
                <a:gridCol w="2842708">
                  <a:extLst>
                    <a:ext uri="{9D8B030D-6E8A-4147-A177-3AD203B41FA5}">
                      <a16:colId xmlns:a16="http://schemas.microsoft.com/office/drawing/2014/main" val="33237825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Candidate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LI Prof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79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Lori </a:t>
                      </a:r>
                      <a:r>
                        <a:rPr lang="en-US" sz="1400" err="1"/>
                        <a:t>Hanyu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err="1"/>
                        <a:t>Crossix</a:t>
                      </a:r>
                      <a:r>
                        <a:rPr lang="en-US" sz="1400"/>
                        <a:t> Measur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Japan Stretch Assig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Senthil is managing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081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Brejnev Muhi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SIP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Internal Vaccines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jish is managing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50621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Cristina Cari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SIP support or G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Internal CORE – Stretch Assig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9514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Juan Dragov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Measurement Pipe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Internal IT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all on 21</a:t>
                      </a:r>
                      <a:r>
                        <a:rPr lang="en-US" sz="1400" baseline="30000"/>
                        <a:t>st</a:t>
                      </a:r>
                      <a:r>
                        <a:rPr lang="en-US" sz="1400"/>
                        <a:t> Apr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01836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Jonathan </a:t>
                      </a:r>
                      <a:r>
                        <a:rPr lang="en-US" sz="1400" err="1"/>
                        <a:t>Doezbarcher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SME Resear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effectLst/>
                        </a:rPr>
                        <a:t>Inter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ssessed and scope to be d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31372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Akshay Jai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SME Research or SIP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Internal Contractor (3 month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Initial discussion d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4754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Pramit</a:t>
                      </a:r>
                      <a:r>
                        <a:rPr lang="en-US" sz="1400"/>
                        <a:t> Maj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Pune </a:t>
                      </a:r>
                      <a:r>
                        <a:rPr lang="en-US" sz="1400" err="1"/>
                        <a:t>CoE</a:t>
                      </a:r>
                      <a:r>
                        <a:rPr lang="en-US" sz="1400"/>
                        <a:t> (Stas/Econometr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Inter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7147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Ishan Kashya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Pune </a:t>
                      </a:r>
                      <a:r>
                        <a:rPr lang="en-US" sz="1400" err="1"/>
                        <a:t>CoE</a:t>
                      </a:r>
                      <a:r>
                        <a:rPr lang="en-US" sz="1400"/>
                        <a:t> (Digital Analyt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Internal Analytics 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76935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Aniket Bandhek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Pune </a:t>
                      </a:r>
                      <a:r>
                        <a:rPr lang="en-US" sz="1400" err="1"/>
                        <a:t>CoE</a:t>
                      </a:r>
                      <a:r>
                        <a:rPr lang="en-US" sz="1400"/>
                        <a:t> (Digital Analyti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b="0" i="0" u="none" strike="noStrike" noProof="0">
                          <a:solidFill>
                            <a:srgbClr val="000000"/>
                          </a:solidFill>
                          <a:latin typeface="Invention"/>
                        </a:rPr>
                        <a:t>Internal Analytics Team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461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Shreya Kek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Pune </a:t>
                      </a:r>
                      <a:r>
                        <a:rPr lang="en-US" sz="1400" err="1"/>
                        <a:t>CoE</a:t>
                      </a:r>
                      <a:r>
                        <a:rPr lang="en-US" sz="140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b="0" i="0" u="none" strike="noStrike" noProof="0">
                          <a:solidFill>
                            <a:srgbClr val="000000"/>
                          </a:solidFill>
                          <a:latin typeface="Invention"/>
                        </a:rPr>
                        <a:t>Internal Analytics Team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518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Avijit Bandur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Pune </a:t>
                      </a:r>
                      <a:r>
                        <a:rPr lang="en-US" sz="1400" err="1"/>
                        <a:t>CoE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b="0" i="0" u="none" strike="noStrike" noProof="0">
                          <a:solidFill>
                            <a:srgbClr val="000000"/>
                          </a:solidFill>
                          <a:latin typeface="Invention"/>
                        </a:rPr>
                        <a:t>Internal Analytics Team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76691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62277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DF2FA-96EE-2629-AE70-0FAFDD056C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cruitment Track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D42B61-40C8-7AB1-0571-4F3B3B563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C380D-5F44-41E8-971E-CDD19ED6F8E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EA7B3"/>
                </a:solidFill>
                <a:effectLst/>
                <a:uLnTx/>
                <a:uFillTx/>
                <a:latin typeface="Inventio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EA7B3"/>
              </a:solidFill>
              <a:effectLst/>
              <a:uLnTx/>
              <a:uFillTx/>
              <a:latin typeface="Invention"/>
              <a:ea typeface="+mn-ea"/>
              <a:cs typeface="+mn-cs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79E71CB-04BD-EC3A-9AA3-1276F6A7C3BC}"/>
              </a:ext>
            </a:extLst>
          </p:cNvPr>
          <p:cNvGraphicFramePr>
            <a:graphicFrameLocks noGrp="1"/>
          </p:cNvGraphicFramePr>
          <p:nvPr/>
        </p:nvGraphicFramePr>
        <p:xfrm>
          <a:off x="377825" y="1698720"/>
          <a:ext cx="11370832" cy="469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2708">
                  <a:extLst>
                    <a:ext uri="{9D8B030D-6E8A-4147-A177-3AD203B41FA5}">
                      <a16:colId xmlns:a16="http://schemas.microsoft.com/office/drawing/2014/main" val="1213114596"/>
                    </a:ext>
                  </a:extLst>
                </a:gridCol>
                <a:gridCol w="2842708">
                  <a:extLst>
                    <a:ext uri="{9D8B030D-6E8A-4147-A177-3AD203B41FA5}">
                      <a16:colId xmlns:a16="http://schemas.microsoft.com/office/drawing/2014/main" val="1828400492"/>
                    </a:ext>
                  </a:extLst>
                </a:gridCol>
                <a:gridCol w="2842708">
                  <a:extLst>
                    <a:ext uri="{9D8B030D-6E8A-4147-A177-3AD203B41FA5}">
                      <a16:colId xmlns:a16="http://schemas.microsoft.com/office/drawing/2014/main" val="274758237"/>
                    </a:ext>
                  </a:extLst>
                </a:gridCol>
                <a:gridCol w="2842708">
                  <a:extLst>
                    <a:ext uri="{9D8B030D-6E8A-4147-A177-3AD203B41FA5}">
                      <a16:colId xmlns:a16="http://schemas.microsoft.com/office/drawing/2014/main" val="33237825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Candidate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79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Shambhavi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ps 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>
                          <a:effectLst/>
                          <a:hlinkClick r:id="rId2" tooltip="https://www.linkedin.com/in/shambhaviupadhyaya/"/>
                        </a:rPr>
                        <a:t>https://www.linkedin.com/in/shambhaviupadhyaya/</a:t>
                      </a:r>
                      <a:endParaRPr lang="en-US" sz="105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ot avail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8118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Elizabeth Kuri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Sr DS MM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hlinkClick r:id="rId3"/>
                        </a:rPr>
                        <a:t>https://www.linkedin.com/in/elizabeth-kurien-70b6996/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Rejec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895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Vaibhav Priy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D </a:t>
                      </a:r>
                      <a:r>
                        <a:rPr lang="en-US" sz="1400" err="1"/>
                        <a:t>Vacc</a:t>
                      </a:r>
                      <a:r>
                        <a:rPr lang="en-US" sz="1400"/>
                        <a:t> 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>
                          <a:hlinkClick r:id="rId4"/>
                        </a:rPr>
                        <a:t>https://www.linkedin.com/in/vapriyam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n Hol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081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Pohung</a:t>
                      </a:r>
                      <a:r>
                        <a:rPr lang="en-US" sz="1400"/>
                        <a:t> Chen Bil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Sr DS MM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 tooltip="https://www.linkedin.com/in/pohung-chen-billy/"/>
                        </a:rPr>
                        <a:t>https://www.linkedin.com/in/pohung-chen-billy/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To be asses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50621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Anushri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Referral/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0" i="0" u="none" strike="noStrik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6"/>
                        </a:rPr>
                        <a:t>www.linkedin.com/in/anushri-more-570779ab/</a:t>
                      </a:r>
                      <a:endParaRPr lang="en-US" sz="1050" b="0" i="0" u="none" strike="noStrike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9514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Kanika </a:t>
                      </a:r>
                      <a:r>
                        <a:rPr lang="en-US" sz="1400" err="1"/>
                        <a:t>Misra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TBD (Limited MMX experie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01836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Jack Delane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TBD (Limited MMX experie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31372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Kieren</a:t>
                      </a:r>
                      <a:r>
                        <a:rPr lang="en-US" sz="1400"/>
                        <a:t> Conn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AD </a:t>
                      </a:r>
                      <a:r>
                        <a:rPr lang="en-US" sz="1400" err="1"/>
                        <a:t>Vacc</a:t>
                      </a:r>
                      <a:r>
                        <a:rPr lang="en-US" sz="1400"/>
                        <a:t> 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u="sng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/>
                        </a:rPr>
                        <a:t>https://www.linkedin.com/in/kieren-connor-36a65797/</a:t>
                      </a:r>
                      <a:endParaRPr lang="en-AU" sz="105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4754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Simran </a:t>
                      </a:r>
                      <a:r>
                        <a:rPr lang="en-US" sz="1400" err="1"/>
                        <a:t>Khara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AD </a:t>
                      </a:r>
                      <a:r>
                        <a:rPr lang="en-US" sz="1400" err="1"/>
                        <a:t>Vacc</a:t>
                      </a:r>
                      <a:r>
                        <a:rPr lang="en-US" sz="1400"/>
                        <a:t> 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>
                          <a:hlinkClick r:id="rId8"/>
                        </a:rPr>
                        <a:t>https://www.linkedin.com/in/skhara/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7147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Subekshya Bidari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TB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76935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Rutvi</a:t>
                      </a:r>
                      <a:r>
                        <a:rPr lang="en-US" sz="1400"/>
                        <a:t> Bha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ps 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>
                          <a:hlinkClick r:id="rId9"/>
                        </a:rPr>
                        <a:t>https://www.linkedin.com/in/rutvi-bhatt-20827b98/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To be interview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461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09117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k 16:9 PPT Theme">
  <a:themeElements>
    <a:clrScheme name="Merck colour theme">
      <a:dk1>
        <a:sysClr val="windowText" lastClr="000000"/>
      </a:dk1>
      <a:lt1>
        <a:sysClr val="window" lastClr="FFFFFF"/>
      </a:lt1>
      <a:dk2>
        <a:srgbClr val="44546A"/>
      </a:dk2>
      <a:lt2>
        <a:srgbClr val="9EA7B3"/>
      </a:lt2>
      <a:accent1>
        <a:srgbClr val="00857C"/>
      </a:accent1>
      <a:accent2>
        <a:srgbClr val="6ECEB2"/>
      </a:accent2>
      <a:accent3>
        <a:srgbClr val="FFF063"/>
      </a:accent3>
      <a:accent4>
        <a:srgbClr val="0C2340"/>
      </a:accent4>
      <a:accent5>
        <a:srgbClr val="5450E4"/>
      </a:accent5>
      <a:accent6>
        <a:srgbClr val="688CE8"/>
      </a:accent6>
      <a:hlink>
        <a:srgbClr val="0563C1"/>
      </a:hlink>
      <a:folHlink>
        <a:srgbClr val="954F72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Internal.potx" id="{5A389686-7621-4F1C-9747-3E6C3E7887C2}" vid="{6396AF8D-9139-41C9-BE37-47034FCF4A0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AE4CDDB672294A8B529EF325803743" ma:contentTypeVersion="2" ma:contentTypeDescription="Create a new document." ma:contentTypeScope="" ma:versionID="36be696e9cf88865bde2e0aa63ba8026">
  <xsd:schema xmlns:xsd="http://www.w3.org/2001/XMLSchema" xmlns:xs="http://www.w3.org/2001/XMLSchema" xmlns:p="http://schemas.microsoft.com/office/2006/metadata/properties" xmlns:ns2="738e5b8e-1802-47a1-8add-4046cdfc90bc" targetNamespace="http://schemas.microsoft.com/office/2006/metadata/properties" ma:root="true" ma:fieldsID="8738f6f1174501191ecea0ce7b92657c" ns2:_="">
    <xsd:import namespace="738e5b8e-1802-47a1-8add-4046cdfc90b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8e5b8e-1802-47a1-8add-4046cdfc90b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EA91531-959C-49E8-8DF6-F768C074C656}">
  <ds:schemaRefs>
    <ds:schemaRef ds:uri="738e5b8e-1802-47a1-8add-4046cdfc90b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35E1DB5-5AD9-4E94-9CD6-2597589412FC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738e5b8e-1802-47a1-8add-4046cdfc90b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A366013-90A0-457A-85E4-ABECD1B7CFF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5</Words>
  <Application>Microsoft Office PowerPoint</Application>
  <PresentationFormat>Widescreen</PresentationFormat>
  <Paragraphs>215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Invention</vt:lpstr>
      <vt:lpstr>Invention Light</vt:lpstr>
      <vt:lpstr>Merck 16:9 PPT Theme</vt:lpstr>
      <vt:lpstr>think-cell Slide</vt:lpstr>
      <vt:lpstr>Recruitment Tracker</vt:lpstr>
      <vt:lpstr>Job Listing Tracker</vt:lpstr>
      <vt:lpstr>Candidate Recruitment Tracker</vt:lpstr>
      <vt:lpstr>Candidate Recruitment Tracker</vt:lpstr>
      <vt:lpstr>Gig Opportunity</vt:lpstr>
      <vt:lpstr>Gig Opportunity</vt:lpstr>
      <vt:lpstr>Recruitment Tracker – Gigs</vt:lpstr>
      <vt:lpstr>Recruitment Track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ruitment Tracker</dc:title>
  <dc:creator>Bhamawat, Milind</dc:creator>
  <cp:lastModifiedBy>Murugan, Senthil</cp:lastModifiedBy>
  <cp:revision>1</cp:revision>
  <dcterms:created xsi:type="dcterms:W3CDTF">2023-04-17T03:35:13Z</dcterms:created>
  <dcterms:modified xsi:type="dcterms:W3CDTF">2023-04-18T20:4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7fd646-07cb-4c4e-a107-4e4d6b30ba1b_Enabled">
    <vt:lpwstr>true</vt:lpwstr>
  </property>
  <property fmtid="{D5CDD505-2E9C-101B-9397-08002B2CF9AE}" pid="3" name="MSIP_Label_927fd646-07cb-4c4e-a107-4e4d6b30ba1b_SetDate">
    <vt:lpwstr>2023-04-17T03:36:07Z</vt:lpwstr>
  </property>
  <property fmtid="{D5CDD505-2E9C-101B-9397-08002B2CF9AE}" pid="4" name="MSIP_Label_927fd646-07cb-4c4e-a107-4e4d6b30ba1b_Method">
    <vt:lpwstr>Privileged</vt:lpwstr>
  </property>
  <property fmtid="{D5CDD505-2E9C-101B-9397-08002B2CF9AE}" pid="5" name="MSIP_Label_927fd646-07cb-4c4e-a107-4e4d6b30ba1b_Name">
    <vt:lpwstr>927fd646-07cb-4c4e-a107-4e4d6b30ba1b</vt:lpwstr>
  </property>
  <property fmtid="{D5CDD505-2E9C-101B-9397-08002B2CF9AE}" pid="6" name="MSIP_Label_927fd646-07cb-4c4e-a107-4e4d6b30ba1b_SiteId">
    <vt:lpwstr>a00de4ec-48a8-43a6-be74-e31274e2060d</vt:lpwstr>
  </property>
  <property fmtid="{D5CDD505-2E9C-101B-9397-08002B2CF9AE}" pid="7" name="MSIP_Label_927fd646-07cb-4c4e-a107-4e4d6b30ba1b_ActionId">
    <vt:lpwstr>4489a1c4-b6f9-43d1-8b62-e939fe66eec3</vt:lpwstr>
  </property>
  <property fmtid="{D5CDD505-2E9C-101B-9397-08002B2CF9AE}" pid="8" name="MSIP_Label_927fd646-07cb-4c4e-a107-4e4d6b30ba1b_ContentBits">
    <vt:lpwstr>1</vt:lpwstr>
  </property>
  <property fmtid="{D5CDD505-2E9C-101B-9397-08002B2CF9AE}" pid="9" name="MerckAIPLabel">
    <vt:lpwstr>Proprietary</vt:lpwstr>
  </property>
  <property fmtid="{D5CDD505-2E9C-101B-9397-08002B2CF9AE}" pid="10" name="MerckAIPDataExchange">
    <vt:lpwstr>!MRKMIP@Proprietary</vt:lpwstr>
  </property>
  <property fmtid="{D5CDD505-2E9C-101B-9397-08002B2CF9AE}" pid="11" name="ContentTypeId">
    <vt:lpwstr>0x010100BDAE4CDDB672294A8B529EF325803743</vt:lpwstr>
  </property>
</Properties>
</file>